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0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3" r:id="rId11"/>
    <p:sldId id="274" r:id="rId12"/>
    <p:sldId id="275" r:id="rId13"/>
    <p:sldId id="276" r:id="rId14"/>
    <p:sldId id="281" r:id="rId15"/>
    <p:sldId id="280" r:id="rId16"/>
    <p:sldId id="272" r:id="rId17"/>
    <p:sldId id="282" r:id="rId18"/>
    <p:sldId id="283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94737" autoAdjust="0"/>
  </p:normalViewPr>
  <p:slideViewPr>
    <p:cSldViewPr snapToGrid="0">
      <p:cViewPr varScale="1">
        <p:scale>
          <a:sx n="71" d="100"/>
          <a:sy n="71" d="100"/>
        </p:scale>
        <p:origin x="312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007968"/>
        <c:axId val="137008528"/>
      </c:barChart>
      <c:catAx>
        <c:axId val="137007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7008528"/>
        <c:crosses val="autoZero"/>
        <c:auto val="1"/>
        <c:lblAlgn val="ctr"/>
        <c:lblOffset val="100"/>
        <c:noMultiLvlLbl val="0"/>
      </c:catAx>
      <c:valAx>
        <c:axId val="137008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7007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6890320"/>
        <c:axId val="136890880"/>
      </c:barChart>
      <c:catAx>
        <c:axId val="13689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6890880"/>
        <c:crosses val="autoZero"/>
        <c:auto val="1"/>
        <c:lblAlgn val="ctr"/>
        <c:lblOffset val="100"/>
        <c:noMultiLvlLbl val="0"/>
      </c:catAx>
      <c:valAx>
        <c:axId val="136890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689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44459-30FB-4A39-B98C-CA50DEBD0FE0}">
      <dsp:nvSpPr>
        <dsp:cNvPr id="0" name=""/>
        <dsp:cNvSpPr/>
      </dsp:nvSpPr>
      <dsp:spPr>
        <a:xfrm rot="16200000">
          <a:off x="-819168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Resources</a:t>
          </a:r>
          <a:endParaRPr lang="fr-FR" sz="1700" i="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4 Team </a:t>
          </a:r>
          <a:r>
            <a:rPr lang="fr-FR" sz="1300" b="0" i="0" u="none" strike="sngStrike" kern="1200" dirty="0" err="1" smtClean="0"/>
            <a:t>members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err="1" smtClean="0"/>
            <a:t>Lab</a:t>
          </a:r>
          <a:r>
            <a:rPr lang="fr-FR" sz="1300" b="0" i="0" u="none" strike="sngStrike" kern="1200" dirty="0" smtClean="0"/>
            <a:t> &amp; </a:t>
          </a:r>
          <a:r>
            <a:rPr lang="fr-FR" sz="1300" b="0" i="0" u="none" strike="sngStrike" kern="1200" dirty="0" err="1" smtClean="0"/>
            <a:t>Superviso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Documentation about IA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Documentation about fuel </a:t>
          </a:r>
          <a:r>
            <a:rPr lang="fr-FR" sz="1300" b="0" i="0" u="none" kern="1200" dirty="0" err="1" smtClean="0"/>
            <a:t>cells</a:t>
          </a:r>
          <a:endParaRPr lang="fr-FR" sz="1300" b="0" i="0" u="non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Office supplies</a:t>
          </a:r>
          <a:endParaRPr lang="fr-FR" sz="1300" b="0" i="0" u="none" strike="sngStrike" kern="1200" dirty="0"/>
        </a:p>
      </dsp:txBody>
      <dsp:txXfrm rot="5400000">
        <a:off x="2425" y="804545"/>
        <a:ext cx="2379538" cy="2413635"/>
      </dsp:txXfrm>
    </dsp:sp>
    <dsp:sp modelId="{07112225-DBE3-4767-B863-B33AE5135511}">
      <dsp:nvSpPr>
        <dsp:cNvPr id="0" name=""/>
        <dsp:cNvSpPr/>
      </dsp:nvSpPr>
      <dsp:spPr>
        <a:xfrm rot="16200000">
          <a:off x="1738835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Activiti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smtClean="0"/>
            <a:t>Read IAR, extract structure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strike="sngStrike" kern="1200" smtClean="0"/>
            <a:t>Build a structure for our IAR</a:t>
          </a:r>
          <a:endParaRPr lang="en-US" sz="1300" b="0" i="0" u="none" strike="sngStrik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i="0" u="none" kern="1200" dirty="0" smtClean="0"/>
            <a:t>Read about fuel cell and surrounding industry</a:t>
          </a:r>
          <a:endParaRPr lang="en-US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Collect</a:t>
          </a:r>
          <a:r>
            <a:rPr lang="fr-FR" sz="1600" b="1" i="0" u="none" kern="1200" dirty="0" smtClean="0"/>
            <a:t> data</a:t>
          </a:r>
          <a:endParaRPr lang="fr-FR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Interact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with</a:t>
          </a:r>
          <a:r>
            <a:rPr lang="fr-FR" sz="1600" b="1" i="0" u="none" kern="1200" dirty="0" smtClean="0"/>
            <a:t> the </a:t>
          </a:r>
          <a:r>
            <a:rPr lang="fr-FR" sz="1600" b="1" i="0" u="none" kern="1200" dirty="0" err="1" smtClean="0"/>
            <a:t>chemistry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lab</a:t>
          </a:r>
          <a:endParaRPr lang="fr-FR" sz="1600" b="1" i="0" u="none" kern="1200" dirty="0"/>
        </a:p>
      </dsp:txBody>
      <dsp:txXfrm rot="5400000">
        <a:off x="2560428" y="804545"/>
        <a:ext cx="2379538" cy="2413635"/>
      </dsp:txXfrm>
    </dsp:sp>
    <dsp:sp modelId="{B790B033-8861-44F9-A411-A64891A1F78D}">
      <dsp:nvSpPr>
        <dsp:cNvPr id="0" name=""/>
        <dsp:cNvSpPr/>
      </dsp:nvSpPr>
      <dsp:spPr>
        <a:xfrm rot="16200000">
          <a:off x="4296839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err="1" smtClean="0"/>
            <a:t>Outcom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IAR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Collaboration </a:t>
          </a:r>
          <a:r>
            <a:rPr lang="fr-FR" sz="1300" b="0" i="0" u="none" kern="1200" dirty="0" err="1" smtClean="0"/>
            <a:t>with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chemistry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lab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b="0" i="0" u="none" kern="1200" dirty="0"/>
        </a:p>
      </dsp:txBody>
      <dsp:txXfrm rot="5400000">
        <a:off x="5118432" y="804545"/>
        <a:ext cx="2379538" cy="2413635"/>
      </dsp:txXfrm>
    </dsp:sp>
    <dsp:sp modelId="{5F91C283-CBEC-401B-9811-6B9815385BF4}">
      <dsp:nvSpPr>
        <dsp:cNvPr id="0" name=""/>
        <dsp:cNvSpPr/>
      </dsp:nvSpPr>
      <dsp:spPr>
        <a:xfrm rot="16200000">
          <a:off x="6854843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Output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Have knowledge about global fuel cell industry (e.g. technology, application, manufacturers, risks, opportunit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Being able to identify needs of the market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Ability to write an IAR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IAR available for other peopl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kern="1200"/>
        </a:p>
      </dsp:txBody>
      <dsp:txXfrm rot="5400000">
        <a:off x="7676436" y="804545"/>
        <a:ext cx="2379538" cy="2413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980" y="286607"/>
            <a:ext cx="10058400" cy="1450757"/>
          </a:xfrm>
        </p:spPr>
        <p:txBody>
          <a:bodyPr/>
          <a:lstStyle/>
          <a:p>
            <a:r>
              <a:rPr lang="de-DE" dirty="0"/>
              <a:t>MARKET PERSPECTIVES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51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 :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7889654" cy="4039787"/>
            <a:chOff x="2201864" y="1196976"/>
            <a:chExt cx="8487463" cy="4345887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65563" y="2229228"/>
              <a:ext cx="189230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38609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345479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region</a:t>
              </a: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5636158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smtClean="0"/>
                        <a:t>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, subsidies</a:t>
                      </a:r>
                      <a:r>
                        <a:rPr lang="fr-FR" sz="1500" baseline="0" dirty="0" smtClean="0"/>
                        <a:t>, active support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,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, web </a:t>
                      </a:r>
                      <a:r>
                        <a:rPr lang="fr-FR" sz="1500" baseline="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, subsidies</a:t>
                      </a:r>
                      <a:r>
                        <a:rPr lang="fr-FR" sz="1500" baseline="0" dirty="0" smtClean="0"/>
                        <a:t>, active support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,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, web </a:t>
                      </a:r>
                      <a:r>
                        <a:rPr lang="fr-FR" sz="1500" baseline="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358590"/>
              </p:ext>
            </p:extLst>
          </p:nvPr>
        </p:nvGraphicFramePr>
        <p:xfrm>
          <a:off x="1096963" y="1846263"/>
          <a:ext cx="10058400" cy="37693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76400"/>
                <a:gridCol w="1676400"/>
                <a:gridCol w="1676400"/>
                <a:gridCol w="1676400"/>
                <a:gridCol w="1676400"/>
                <a:gridCol w="167640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ample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9581854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2746001"/>
              </p:ext>
            </p:extLst>
          </p:nvPr>
        </p:nvGraphicFramePr>
        <p:xfrm>
          <a:off x="1097279" y="1846263"/>
          <a:ext cx="10058400" cy="20777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Student’s 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review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7379507"/>
              </p:ext>
            </p:extLst>
          </p:nvPr>
        </p:nvGraphicFramePr>
        <p:xfrm>
          <a:off x="1097279" y="1846263"/>
          <a:ext cx="10058400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was the estate of the industry</a:t>
                      </a:r>
                      <a:r>
                        <a:rPr lang="fr-FR" sz="1500" baseline="0" dirty="0" smtClean="0"/>
                        <a:t> in 2014? (</a:t>
                      </a:r>
                      <a:r>
                        <a:rPr lang="fr-FR" sz="1500" baseline="0" dirty="0" err="1" smtClean="0"/>
                        <a:t>before</a:t>
                      </a:r>
                      <a:r>
                        <a:rPr lang="fr-FR" sz="1500" baseline="0" dirty="0" smtClean="0"/>
                        <a:t> 2015)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Incentiv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analysis reports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806</Words>
  <Application>Microsoft Office PowerPoint</Application>
  <PresentationFormat>Widescreen</PresentationFormat>
  <Paragraphs>232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LAW AND GOVERNMENTAL INFLUENCE</vt:lpstr>
      <vt:lpstr>LAW AND GOVERNMENTAL INFLUENCE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Konstantin Neumann</cp:lastModifiedBy>
  <cp:revision>43</cp:revision>
  <dcterms:created xsi:type="dcterms:W3CDTF">2015-04-09T11:09:48Z</dcterms:created>
  <dcterms:modified xsi:type="dcterms:W3CDTF">2015-04-14T12:00:59Z</dcterms:modified>
</cp:coreProperties>
</file>